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5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0B5-44D1-A627-89C67CE85E8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0B5-44D1-A627-89C67CE85E8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0B5-44D1-A627-89C67CE85E85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70B5-44D1-A627-89C67CE85E85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661362520705893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0B5-44D1-A627-89C67CE85E85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70B5-44D1-A627-89C67CE85E8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500</c:v>
                </c:pt>
                <c:pt idx="1">
                  <c:v>110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0B5-44D1-A627-89C67CE85E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3F5-490D-8120-09546BAF2D1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F5-490D-8120-09546BAF2D1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3F5-490D-8120-09546BAF2D19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3F5-490D-8120-09546BAF2D19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39129713603016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3F5-490D-8120-09546BAF2D19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3F5-490D-8120-09546BAF2D1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50</c:v>
                </c:pt>
                <c:pt idx="1">
                  <c:v>101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3F5-490D-8120-09546BAF2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  <c:max val="2000"/>
        </c:scaling>
        <c:delete val="1"/>
        <c:axPos val="b"/>
        <c:numFmt formatCode="General" sourceLinked="1"/>
        <c:majorTickMark val="out"/>
        <c:minorTickMark val="none"/>
        <c:tickLblPos val="nextTo"/>
        <c:crossAx val="394669455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0D-4185-BDEE-6B7971651CF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0D-4185-BDEE-6B7971651CF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90D-4185-BDEE-6B7971651CF5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39129713603016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90D-4185-BDEE-6B7971651CF5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90D-4185-BDEE-6B7971651CF5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954322628656734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90D-4185-BDEE-6B7971651CF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350</c:v>
                </c:pt>
                <c:pt idx="1">
                  <c:v>1000</c:v>
                </c:pt>
                <c:pt idx="2">
                  <c:v>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90D-4185-BDEE-6B7971651C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267-47EB-9119-1AF569E9D81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267-47EB-9119-1AF569E9D81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267-47EB-9119-1AF569E9D81C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C267-47EB-9119-1AF569E9D81C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C267-47EB-9119-1AF569E9D81C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267-47EB-9119-1AF569E9D81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00</c:v>
                </c:pt>
                <c:pt idx="1">
                  <c:v>1200</c:v>
                </c:pt>
                <c:pt idx="2">
                  <c:v>1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267-47EB-9119-1AF569E9D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246-490E-B5FB-32992B5DB9F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246-490E-B5FB-32992B5DB9F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246-490E-B5FB-32992B5DB9FF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967942007804917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246-490E-B5FB-32992B5DB9FF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967942007804917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246-490E-B5FB-32992B5DB9FF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246-490E-B5FB-32992B5DB9F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500</c:v>
                </c:pt>
                <c:pt idx="1">
                  <c:v>110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246-490E-B5FB-32992B5DB9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382-4022-A40F-D809B4CBF68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382-4022-A40F-D809B4CBF68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382-4022-A40F-D809B4CBF68D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9382-4022-A40F-D809B4CBF68D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6508072777156384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382-4022-A40F-D809B4CBF68D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9382-4022-A40F-D809B4CBF68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100</c:v>
                </c:pt>
                <c:pt idx="1">
                  <c:v>1600</c:v>
                </c:pt>
                <c:pt idx="2">
                  <c:v>1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382-4022-A40F-D809B4CBF6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B86-47BF-A105-5B6EFFA73AD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B86-47BF-A105-5B6EFFA73AD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B86-47BF-A105-5B6EFFA73ADF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661362520705893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B86-47BF-A105-5B6EFFA73ADF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661362520705893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B86-47BF-A105-5B6EFFA73ADF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B86-47BF-A105-5B6EFFA73AD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500</c:v>
                </c:pt>
                <c:pt idx="1">
                  <c:v>110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86-47BF-A105-5B6EFFA73A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oleObject" Target="../embeddings/oleObject3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chart" Target="../charts/chart2.xml"/><Relationship Id="rId11" Type="http://schemas.openxmlformats.org/officeDocument/2006/relationships/chart" Target="../charts/chart7.xml"/><Relationship Id="rId5" Type="http://schemas.openxmlformats.org/officeDocument/2006/relationships/chart" Target="../charts/chart1.xml"/><Relationship Id="rId10" Type="http://schemas.openxmlformats.org/officeDocument/2006/relationships/chart" Target="../charts/chart6.xml"/><Relationship Id="rId4" Type="http://schemas.openxmlformats.org/officeDocument/2006/relationships/image" Target="../media/image2.emf"/><Relationship Id="rId9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87439E-281D-A4C4-32E1-E08B8ED0F4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8FC4767-FDE7-9F9D-7751-8F3C0A1C9D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FC4767-FDE7-9F9D-7751-8F3C0A1C9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8338DD-9AF4-1333-961E-8441A9841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E3465E6-250E-6392-04AF-96C8DF6B658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6437F2BA-620D-A7FD-C6EB-E2E094B8BF47}"/>
              </a:ext>
            </a:extLst>
          </p:cNvPr>
          <p:cNvGraphicFramePr>
            <a:graphicFrameLocks noGrp="1"/>
          </p:cNvGraphicFramePr>
          <p:nvPr/>
        </p:nvGraphicFramePr>
        <p:xfrm>
          <a:off x="517702" y="1184555"/>
          <a:ext cx="11156595" cy="4567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5164">
                  <a:extLst>
                    <a:ext uri="{9D8B030D-6E8A-4147-A177-3AD203B41FA5}">
                      <a16:colId xmlns:a16="http://schemas.microsoft.com/office/drawing/2014/main" val="209073432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1359006512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452308803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3134237105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585510681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563736982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3346023102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588875718"/>
                    </a:ext>
                  </a:extLst>
                </a:gridCol>
              </a:tblGrid>
              <a:tr h="553237">
                <a:tc>
                  <a:txBody>
                    <a:bodyPr/>
                    <a:lstStyle/>
                    <a:p>
                      <a:r>
                        <a:rPr lang="en-IN" sz="1400" dirty="0">
                          <a:solidFill>
                            <a:schemeClr val="bg1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148821"/>
                  </a:ext>
                </a:extLst>
              </a:tr>
              <a:tr h="1338199">
                <a:tc>
                  <a:txBody>
                    <a:bodyPr/>
                    <a:lstStyle/>
                    <a:p>
                      <a:r>
                        <a:rPr lang="en-IN" sz="14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7433772"/>
                  </a:ext>
                </a:extLst>
              </a:tr>
              <a:tr h="1338199">
                <a:tc>
                  <a:txBody>
                    <a:bodyPr/>
                    <a:lstStyle/>
                    <a:p>
                      <a:r>
                        <a:rPr lang="en-IN" sz="14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1744574"/>
                  </a:ext>
                </a:extLst>
              </a:tr>
              <a:tr h="1338199">
                <a:tc>
                  <a:txBody>
                    <a:bodyPr/>
                    <a:lstStyle/>
                    <a:p>
                      <a:r>
                        <a:rPr lang="en-IN" sz="14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299071"/>
                  </a:ext>
                </a:extLst>
              </a:tr>
            </a:tbl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EE53351-6BDD-CC98-EC7E-62507401155F}"/>
              </a:ext>
            </a:extLst>
          </p:cNvPr>
          <p:cNvGraphicFramePr/>
          <p:nvPr/>
        </p:nvGraphicFramePr>
        <p:xfrm>
          <a:off x="2989918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987CB4B-BBFC-0564-C0DA-D862F7748117}"/>
              </a:ext>
            </a:extLst>
          </p:cNvPr>
          <p:cNvGraphicFramePr/>
          <p:nvPr/>
        </p:nvGraphicFramePr>
        <p:xfrm>
          <a:off x="4271943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C55BBC25-6743-1F38-0214-E6A45042B3B6}"/>
              </a:ext>
            </a:extLst>
          </p:cNvPr>
          <p:cNvGraphicFramePr/>
          <p:nvPr/>
        </p:nvGraphicFramePr>
        <p:xfrm>
          <a:off x="5553969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9BB3834-2635-4DD1-053F-F3351F085D1C}"/>
              </a:ext>
            </a:extLst>
          </p:cNvPr>
          <p:cNvGraphicFramePr/>
          <p:nvPr/>
        </p:nvGraphicFramePr>
        <p:xfrm>
          <a:off x="6835995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A5B1F3DD-73A2-B372-059B-1282B6C43FF2}"/>
              </a:ext>
            </a:extLst>
          </p:cNvPr>
          <p:cNvGraphicFramePr/>
          <p:nvPr/>
        </p:nvGraphicFramePr>
        <p:xfrm>
          <a:off x="8118021" y="1817482"/>
          <a:ext cx="97245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AAFA8E56-3DEF-3D93-F678-97F4C8CBF29B}"/>
              </a:ext>
            </a:extLst>
          </p:cNvPr>
          <p:cNvGraphicFramePr/>
          <p:nvPr/>
        </p:nvGraphicFramePr>
        <p:xfrm>
          <a:off x="9400047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CF89F380-8755-4C37-61AE-69EFD53BD9C3}"/>
              </a:ext>
            </a:extLst>
          </p:cNvPr>
          <p:cNvGraphicFramePr/>
          <p:nvPr/>
        </p:nvGraphicFramePr>
        <p:xfrm>
          <a:off x="10682072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121408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7</TotalTime>
  <Words>40</Words>
  <Application>Microsoft Office PowerPoint</Application>
  <PresentationFormat>Widescreen</PresentationFormat>
  <Paragraphs>3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02</cp:revision>
  <dcterms:created xsi:type="dcterms:W3CDTF">2021-03-31T02:49:57Z</dcterms:created>
  <dcterms:modified xsi:type="dcterms:W3CDTF">2025-10-15T08:52:42Z</dcterms:modified>
  <cp:category/>
</cp:coreProperties>
</file>